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2" y="3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9/08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9/08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351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as forcément pertinent au vu de la typologie des projets visée. A enlever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9599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Pas forcément pertinent au vu de la typologie des projets visée. A enlever?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565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1382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ESPR – Exploitation forestière et Sylviculture Performantes et Résilientes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57</TotalTime>
  <Words>1667</Words>
  <Application>Microsoft Office PowerPoint</Application>
  <PresentationFormat>Grand écran</PresentationFormat>
  <Paragraphs>214</Paragraphs>
  <Slides>15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CHREPFER Lucas</cp:lastModifiedBy>
  <cp:revision>825</cp:revision>
  <cp:lastPrinted>2017-04-19T15:45:38Z</cp:lastPrinted>
  <dcterms:created xsi:type="dcterms:W3CDTF">2015-06-10T16:17:23Z</dcterms:created>
  <dcterms:modified xsi:type="dcterms:W3CDTF">2022-08-29T15:26:32Z</dcterms:modified>
</cp:coreProperties>
</file>